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55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3</c:f>
              <c:numCache>
                <c:formatCode>m/d/yyyy</c:formatCode>
                <c:ptCount val="23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</c:numCache>
            </c:numRef>
          </c:cat>
          <c:val>
            <c:numRef>
              <c:f>Sheet1!$D$2:$D$233</c:f>
              <c:numCache>
                <c:formatCode>#,##0</c:formatCode>
                <c:ptCount val="232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9</c:v>
                </c:pt>
                <c:pt idx="106">
                  <c:v>313</c:v>
                </c:pt>
                <c:pt idx="107">
                  <c:v>303</c:v>
                </c:pt>
                <c:pt idx="108">
                  <c:v>313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4</c:v>
                </c:pt>
                <c:pt idx="138">
                  <c:v>590</c:v>
                </c:pt>
                <c:pt idx="139">
                  <c:v>588</c:v>
                </c:pt>
                <c:pt idx="140">
                  <c:v>578</c:v>
                </c:pt>
                <c:pt idx="141">
                  <c:v>560</c:v>
                </c:pt>
                <c:pt idx="142">
                  <c:v>554</c:v>
                </c:pt>
                <c:pt idx="143">
                  <c:v>539</c:v>
                </c:pt>
                <c:pt idx="144">
                  <c:v>536</c:v>
                </c:pt>
                <c:pt idx="145">
                  <c:v>539</c:v>
                </c:pt>
                <c:pt idx="146">
                  <c:v>539</c:v>
                </c:pt>
                <c:pt idx="147">
                  <c:v>548</c:v>
                </c:pt>
                <c:pt idx="148">
                  <c:v>548</c:v>
                </c:pt>
                <c:pt idx="149">
                  <c:v>544</c:v>
                </c:pt>
                <c:pt idx="150">
                  <c:v>515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5</c:v>
                </c:pt>
                <c:pt idx="165">
                  <c:v>560</c:v>
                </c:pt>
                <c:pt idx="166">
                  <c:v>579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29</c:v>
                </c:pt>
                <c:pt idx="178">
                  <c:v>721</c:v>
                </c:pt>
                <c:pt idx="179">
                  <c:v>714</c:v>
                </c:pt>
                <c:pt idx="180">
                  <c:v>740</c:v>
                </c:pt>
                <c:pt idx="181">
                  <c:v>781</c:v>
                </c:pt>
                <c:pt idx="182">
                  <c:v>798</c:v>
                </c:pt>
                <c:pt idx="183">
                  <c:v>804</c:v>
                </c:pt>
                <c:pt idx="184">
                  <c:v>825</c:v>
                </c:pt>
                <c:pt idx="185">
                  <c:v>840</c:v>
                </c:pt>
                <c:pt idx="186">
                  <c:v>850</c:v>
                </c:pt>
                <c:pt idx="187">
                  <c:v>869</c:v>
                </c:pt>
                <c:pt idx="188">
                  <c:v>918</c:v>
                </c:pt>
                <c:pt idx="189">
                  <c:v>908</c:v>
                </c:pt>
                <c:pt idx="190">
                  <c:v>917</c:v>
                </c:pt>
                <c:pt idx="191">
                  <c:v>918</c:v>
                </c:pt>
                <c:pt idx="192">
                  <c:v>928</c:v>
                </c:pt>
                <c:pt idx="193">
                  <c:v>911</c:v>
                </c:pt>
                <c:pt idx="194">
                  <c:v>937</c:v>
                </c:pt>
                <c:pt idx="195">
                  <c:v>942</c:v>
                </c:pt>
                <c:pt idx="196">
                  <c:v>927</c:v>
                </c:pt>
                <c:pt idx="197">
                  <c:v>926</c:v>
                </c:pt>
                <c:pt idx="198">
                  <c:v>953</c:v>
                </c:pt>
                <c:pt idx="199">
                  <c:v>945</c:v>
                </c:pt>
                <c:pt idx="200">
                  <c:v>940</c:v>
                </c:pt>
                <c:pt idx="201">
                  <c:v>935</c:v>
                </c:pt>
                <c:pt idx="202">
                  <c:v>974</c:v>
                </c:pt>
                <c:pt idx="203">
                  <c:v>933</c:v>
                </c:pt>
                <c:pt idx="204">
                  <c:v>925</c:v>
                </c:pt>
                <c:pt idx="205">
                  <c:v>914</c:v>
                </c:pt>
                <c:pt idx="206">
                  <c:v>915</c:v>
                </c:pt>
                <c:pt idx="207">
                  <c:v>881</c:v>
                </c:pt>
                <c:pt idx="208">
                  <c:v>866</c:v>
                </c:pt>
                <c:pt idx="209">
                  <c:v>870</c:v>
                </c:pt>
                <c:pt idx="210">
                  <c:v>844</c:v>
                </c:pt>
                <c:pt idx="211">
                  <c:v>816</c:v>
                </c:pt>
                <c:pt idx="212">
                  <c:v>796</c:v>
                </c:pt>
                <c:pt idx="213">
                  <c:v>767</c:v>
                </c:pt>
                <c:pt idx="214">
                  <c:v>730</c:v>
                </c:pt>
                <c:pt idx="215">
                  <c:v>719</c:v>
                </c:pt>
                <c:pt idx="216">
                  <c:v>716</c:v>
                </c:pt>
                <c:pt idx="217">
                  <c:v>739</c:v>
                </c:pt>
                <c:pt idx="218">
                  <c:v>715</c:v>
                </c:pt>
                <c:pt idx="219">
                  <c:v>682</c:v>
                </c:pt>
                <c:pt idx="220">
                  <c:v>642</c:v>
                </c:pt>
                <c:pt idx="221">
                  <c:v>619</c:v>
                </c:pt>
                <c:pt idx="222">
                  <c:v>620</c:v>
                </c:pt>
                <c:pt idx="223">
                  <c:v>610</c:v>
                </c:pt>
                <c:pt idx="224">
                  <c:v>590</c:v>
                </c:pt>
                <c:pt idx="225">
                  <c:v>556</c:v>
                </c:pt>
                <c:pt idx="226">
                  <c:v>537</c:v>
                </c:pt>
                <c:pt idx="227">
                  <c:v>526</c:v>
                </c:pt>
                <c:pt idx="228">
                  <c:v>501</c:v>
                </c:pt>
                <c:pt idx="229" formatCode="General">
                  <c:v>505</c:v>
                </c:pt>
                <c:pt idx="230" formatCode="General">
                  <c:v>506</c:v>
                </c:pt>
                <c:pt idx="231" formatCode="General">
                  <c:v>4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layout>
                <c:manualLayout>
                  <c:x val="-1.2951155278743182E-2"/>
                  <c:y val="-6.990422169258099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9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22B3-47F2-9BD6-517B264C61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33</c:f>
              <c:numCache>
                <c:formatCode>m/d/yyyy</c:formatCode>
                <c:ptCount val="23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</c:numCache>
            </c:numRef>
          </c:cat>
          <c:val>
            <c:numRef>
              <c:f>Sheet1!$B$2:$B$233</c:f>
              <c:numCache>
                <c:formatCode>#,##0</c:formatCode>
                <c:ptCount val="232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 formatCode="General">
                  <c:v>528</c:v>
                </c:pt>
                <c:pt idx="230" formatCode="General">
                  <c:v>552</c:v>
                </c:pt>
                <c:pt idx="231" formatCode="General">
                  <c:v>5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3</c:f>
              <c:numCache>
                <c:formatCode>m/d/yyyy</c:formatCode>
                <c:ptCount val="23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</c:numCache>
            </c:numRef>
          </c:cat>
          <c:val>
            <c:numRef>
              <c:f>Sheet1!$C$2:$C$233</c:f>
              <c:numCache>
                <c:formatCode>#,##0</c:formatCode>
                <c:ptCount val="23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3</c:f>
              <c:numCache>
                <c:formatCode>m/d/yyyy</c:formatCode>
                <c:ptCount val="23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</c:numCache>
            </c:numRef>
          </c:cat>
          <c:val>
            <c:numRef>
              <c:f>Sheet1!$D$2:$D$233</c:f>
              <c:numCache>
                <c:formatCode>#,##0</c:formatCode>
                <c:ptCount val="232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50</c:v>
                </c:pt>
                <c:pt idx="68">
                  <c:v>3354</c:v>
                </c:pt>
                <c:pt idx="69">
                  <c:v>3291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6</c:v>
                </c:pt>
                <c:pt idx="120">
                  <c:v>2479</c:v>
                </c:pt>
                <c:pt idx="121">
                  <c:v>2500</c:v>
                </c:pt>
                <c:pt idx="122">
                  <c:v>2499</c:v>
                </c:pt>
                <c:pt idx="123">
                  <c:v>2684</c:v>
                </c:pt>
                <c:pt idx="124">
                  <c:v>2800</c:v>
                </c:pt>
                <c:pt idx="125">
                  <c:v>3023</c:v>
                </c:pt>
                <c:pt idx="126">
                  <c:v>3051</c:v>
                </c:pt>
                <c:pt idx="127">
                  <c:v>3085</c:v>
                </c:pt>
                <c:pt idx="128">
                  <c:v>3078</c:v>
                </c:pt>
                <c:pt idx="129">
                  <c:v>2935</c:v>
                </c:pt>
                <c:pt idx="130">
                  <c:v>2967</c:v>
                </c:pt>
                <c:pt idx="131">
                  <c:v>2975</c:v>
                </c:pt>
                <c:pt idx="132">
                  <c:v>2978</c:v>
                </c:pt>
                <c:pt idx="133">
                  <c:v>3046</c:v>
                </c:pt>
                <c:pt idx="134">
                  <c:v>2967</c:v>
                </c:pt>
                <c:pt idx="135">
                  <c:v>2927</c:v>
                </c:pt>
                <c:pt idx="136">
                  <c:v>2875</c:v>
                </c:pt>
                <c:pt idx="137">
                  <c:v>2761</c:v>
                </c:pt>
                <c:pt idx="138">
                  <c:v>2747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88</c:v>
                </c:pt>
                <c:pt idx="143">
                  <c:v>2554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9</c:v>
                </c:pt>
                <c:pt idx="158">
                  <c:v>2347</c:v>
                </c:pt>
                <c:pt idx="159">
                  <c:v>2410</c:v>
                </c:pt>
                <c:pt idx="160">
                  <c:v>2473</c:v>
                </c:pt>
                <c:pt idx="161">
                  <c:v>2490</c:v>
                </c:pt>
                <c:pt idx="162">
                  <c:v>2420</c:v>
                </c:pt>
                <c:pt idx="163">
                  <c:v>2454</c:v>
                </c:pt>
                <c:pt idx="164">
                  <c:v>2405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6</c:v>
                </c:pt>
                <c:pt idx="170">
                  <c:v>2756</c:v>
                </c:pt>
                <c:pt idx="171">
                  <c:v>2677</c:v>
                </c:pt>
                <c:pt idx="172">
                  <c:v>2684</c:v>
                </c:pt>
                <c:pt idx="173">
                  <c:v>2806</c:v>
                </c:pt>
                <c:pt idx="174">
                  <c:v>3000</c:v>
                </c:pt>
                <c:pt idx="175">
                  <c:v>3019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5</c:v>
                </c:pt>
                <c:pt idx="182">
                  <c:v>3620</c:v>
                </c:pt>
                <c:pt idx="183">
                  <c:v>3596</c:v>
                </c:pt>
                <c:pt idx="184">
                  <c:v>3679</c:v>
                </c:pt>
                <c:pt idx="185">
                  <c:v>3706</c:v>
                </c:pt>
                <c:pt idx="186">
                  <c:v>3786</c:v>
                </c:pt>
                <c:pt idx="187">
                  <c:v>3875</c:v>
                </c:pt>
                <c:pt idx="188">
                  <c:v>3926</c:v>
                </c:pt>
                <c:pt idx="189">
                  <c:v>3942</c:v>
                </c:pt>
                <c:pt idx="190">
                  <c:v>3955</c:v>
                </c:pt>
                <c:pt idx="191">
                  <c:v>3926</c:v>
                </c:pt>
                <c:pt idx="192">
                  <c:v>3863</c:v>
                </c:pt>
                <c:pt idx="193">
                  <c:v>3974</c:v>
                </c:pt>
                <c:pt idx="194">
                  <c:v>4043</c:v>
                </c:pt>
                <c:pt idx="195">
                  <c:v>4189</c:v>
                </c:pt>
                <c:pt idx="196">
                  <c:v>4103</c:v>
                </c:pt>
                <c:pt idx="197">
                  <c:v>4025</c:v>
                </c:pt>
                <c:pt idx="198">
                  <c:v>3997</c:v>
                </c:pt>
                <c:pt idx="199">
                  <c:v>3793</c:v>
                </c:pt>
                <c:pt idx="200">
                  <c:v>3721</c:v>
                </c:pt>
                <c:pt idx="201">
                  <c:v>3799</c:v>
                </c:pt>
                <c:pt idx="202">
                  <c:v>3816</c:v>
                </c:pt>
                <c:pt idx="203">
                  <c:v>3686</c:v>
                </c:pt>
                <c:pt idx="204">
                  <c:v>3541</c:v>
                </c:pt>
                <c:pt idx="205">
                  <c:v>3471</c:v>
                </c:pt>
                <c:pt idx="206">
                  <c:v>3328</c:v>
                </c:pt>
                <c:pt idx="207">
                  <c:v>3354</c:v>
                </c:pt>
                <c:pt idx="208">
                  <c:v>3384</c:v>
                </c:pt>
                <c:pt idx="209">
                  <c:v>3355</c:v>
                </c:pt>
                <c:pt idx="210">
                  <c:v>3278</c:v>
                </c:pt>
                <c:pt idx="211">
                  <c:v>3144</c:v>
                </c:pt>
                <c:pt idx="212">
                  <c:v>2997</c:v>
                </c:pt>
                <c:pt idx="213">
                  <c:v>2813</c:v>
                </c:pt>
                <c:pt idx="214">
                  <c:v>2769</c:v>
                </c:pt>
                <c:pt idx="215">
                  <c:v>2829</c:v>
                </c:pt>
                <c:pt idx="216">
                  <c:v>2844</c:v>
                </c:pt>
                <c:pt idx="217">
                  <c:v>3044</c:v>
                </c:pt>
                <c:pt idx="218">
                  <c:v>2865</c:v>
                </c:pt>
                <c:pt idx="219">
                  <c:v>2688</c:v>
                </c:pt>
                <c:pt idx="220">
                  <c:v>2418</c:v>
                </c:pt>
                <c:pt idx="221">
                  <c:v>2329</c:v>
                </c:pt>
                <c:pt idx="222">
                  <c:v>2344</c:v>
                </c:pt>
                <c:pt idx="223">
                  <c:v>2332</c:v>
                </c:pt>
                <c:pt idx="224">
                  <c:v>2234</c:v>
                </c:pt>
                <c:pt idx="225">
                  <c:v>2106</c:v>
                </c:pt>
                <c:pt idx="226">
                  <c:v>1933</c:v>
                </c:pt>
                <c:pt idx="227">
                  <c:v>1786</c:v>
                </c:pt>
                <c:pt idx="228">
                  <c:v>1753</c:v>
                </c:pt>
                <c:pt idx="229">
                  <c:v>1762</c:v>
                </c:pt>
                <c:pt idx="230">
                  <c:v>1814</c:v>
                </c:pt>
                <c:pt idx="231">
                  <c:v>17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layout>
                <c:manualLayout>
                  <c:x val="-1.2878628343815882E-2"/>
                  <c:y val="-4.9396283362822598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 34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0-FAD9-41A5-9B24-319A654422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33</c:f>
              <c:numCache>
                <c:formatCode>m/d/yyyy</c:formatCode>
                <c:ptCount val="23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</c:numCache>
            </c:numRef>
          </c:cat>
          <c:val>
            <c:numRef>
              <c:f>Sheet1!$B$2:$B$233</c:f>
              <c:numCache>
                <c:formatCode>#,##0</c:formatCode>
                <c:ptCount val="232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3</c:f>
              <c:numCache>
                <c:formatCode>m/d/yyyy</c:formatCode>
                <c:ptCount val="23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</c:numCache>
            </c:numRef>
          </c:cat>
          <c:val>
            <c:numRef>
              <c:f>Sheet1!$C$2:$C$233</c:f>
              <c:numCache>
                <c:formatCode>#,##0</c:formatCode>
                <c:ptCount val="23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3</c:f>
              <c:numCache>
                <c:formatCode>m/d/yyyy</c:formatCode>
                <c:ptCount val="23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</c:numCache>
            </c:numRef>
          </c:cat>
          <c:val>
            <c:numRef>
              <c:f>Sheet1!$D$2:$D$233</c:f>
              <c:numCache>
                <c:formatCode>#,##0</c:formatCode>
                <c:ptCount val="23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5">
                  <c:v>26</c:v>
                </c:pt>
                <c:pt idx="206">
                  <c:v>29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9</c:v>
                </c:pt>
                <c:pt idx="225">
                  <c:v>18</c:v>
                </c:pt>
                <c:pt idx="226">
                  <c:v>19</c:v>
                </c:pt>
                <c:pt idx="227">
                  <c:v>20</c:v>
                </c:pt>
                <c:pt idx="228">
                  <c:v>20</c:v>
                </c:pt>
                <c:pt idx="229" formatCode="General">
                  <c:v>21</c:v>
                </c:pt>
                <c:pt idx="230" formatCode="General">
                  <c:v>23</c:v>
                </c:pt>
                <c:pt idx="231" formatCode="General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layout>
                <c:manualLayout>
                  <c:x val="-1.0886804832506937E-2"/>
                  <c:y val="-3.5924569718416476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3C7C-46FD-AC56-781B4A4EF2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33</c:f>
              <c:numCache>
                <c:formatCode>m/d/yyyy</c:formatCode>
                <c:ptCount val="23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</c:numCache>
            </c:numRef>
          </c:cat>
          <c:val>
            <c:numRef>
              <c:f>Sheet1!$B$2:$B$233</c:f>
              <c:numCache>
                <c:formatCode>#,##0</c:formatCode>
                <c:ptCount val="232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 formatCode="General">
                  <c:v>46</c:v>
                </c:pt>
                <c:pt idx="230" formatCode="General">
                  <c:v>42</c:v>
                </c:pt>
                <c:pt idx="231" formatCode="General">
                  <c:v>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3</c:f>
              <c:numCache>
                <c:formatCode>m/d/yyyy</c:formatCode>
                <c:ptCount val="23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</c:numCache>
            </c:numRef>
          </c:cat>
          <c:val>
            <c:numRef>
              <c:f>Sheet1!$C$2:$C$233</c:f>
              <c:numCache>
                <c:formatCode>#,##0</c:formatCode>
                <c:ptCount val="23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3.4628599943211873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3</c:f>
              <c:numCache>
                <c:formatCode>m/d/yyyy</c:formatCode>
                <c:ptCount val="23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</c:numCache>
            </c:numRef>
          </c:cat>
          <c:val>
            <c:numRef>
              <c:f>Sheet1!$D$2:$D$233</c:f>
              <c:numCache>
                <c:formatCode>#,##0</c:formatCode>
                <c:ptCount val="232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39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1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10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3</c:v>
                </c:pt>
                <c:pt idx="106">
                  <c:v>735</c:v>
                </c:pt>
                <c:pt idx="107">
                  <c:v>724</c:v>
                </c:pt>
                <c:pt idx="108">
                  <c:v>727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8</c:v>
                </c:pt>
                <c:pt idx="138">
                  <c:v>1129</c:v>
                </c:pt>
                <c:pt idx="139">
                  <c:v>1154</c:v>
                </c:pt>
                <c:pt idx="140">
                  <c:v>1135</c:v>
                </c:pt>
                <c:pt idx="141">
                  <c:v>1111</c:v>
                </c:pt>
                <c:pt idx="142">
                  <c:v>1105</c:v>
                </c:pt>
                <c:pt idx="143">
                  <c:v>1109</c:v>
                </c:pt>
                <c:pt idx="144">
                  <c:v>1091</c:v>
                </c:pt>
                <c:pt idx="145">
                  <c:v>1057</c:v>
                </c:pt>
                <c:pt idx="146">
                  <c:v>1079</c:v>
                </c:pt>
                <c:pt idx="147">
                  <c:v>1046</c:v>
                </c:pt>
                <c:pt idx="148">
                  <c:v>1037</c:v>
                </c:pt>
                <c:pt idx="149">
                  <c:v>1018</c:v>
                </c:pt>
                <c:pt idx="150">
                  <c:v>1018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1</c:v>
                </c:pt>
                <c:pt idx="165">
                  <c:v>1105</c:v>
                </c:pt>
                <c:pt idx="166">
                  <c:v>1146</c:v>
                </c:pt>
                <c:pt idx="167">
                  <c:v>1170</c:v>
                </c:pt>
                <c:pt idx="168">
                  <c:v>1213</c:v>
                </c:pt>
                <c:pt idx="169">
                  <c:v>1241</c:v>
                </c:pt>
                <c:pt idx="170">
                  <c:v>1266</c:v>
                </c:pt>
                <c:pt idx="171">
                  <c:v>1270</c:v>
                </c:pt>
                <c:pt idx="172">
                  <c:v>1269</c:v>
                </c:pt>
                <c:pt idx="173">
                  <c:v>1282</c:v>
                </c:pt>
                <c:pt idx="174">
                  <c:v>1362</c:v>
                </c:pt>
                <c:pt idx="175">
                  <c:v>1391</c:v>
                </c:pt>
                <c:pt idx="176">
                  <c:v>1410</c:v>
                </c:pt>
                <c:pt idx="177">
                  <c:v>1463</c:v>
                </c:pt>
                <c:pt idx="178">
                  <c:v>1438</c:v>
                </c:pt>
                <c:pt idx="179">
                  <c:v>1465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49</c:v>
                </c:pt>
                <c:pt idx="185">
                  <c:v>1669</c:v>
                </c:pt>
                <c:pt idx="186">
                  <c:v>1673</c:v>
                </c:pt>
                <c:pt idx="187">
                  <c:v>1676</c:v>
                </c:pt>
                <c:pt idx="188">
                  <c:v>1772</c:v>
                </c:pt>
                <c:pt idx="189">
                  <c:v>1802</c:v>
                </c:pt>
                <c:pt idx="190">
                  <c:v>1833</c:v>
                </c:pt>
                <c:pt idx="191">
                  <c:v>1822</c:v>
                </c:pt>
                <c:pt idx="192">
                  <c:v>1833</c:v>
                </c:pt>
                <c:pt idx="193">
                  <c:v>1781</c:v>
                </c:pt>
                <c:pt idx="194">
                  <c:v>1828</c:v>
                </c:pt>
                <c:pt idx="195">
                  <c:v>1885</c:v>
                </c:pt>
                <c:pt idx="196">
                  <c:v>1892</c:v>
                </c:pt>
                <c:pt idx="197">
                  <c:v>1861</c:v>
                </c:pt>
                <c:pt idx="198">
                  <c:v>1861</c:v>
                </c:pt>
                <c:pt idx="199">
                  <c:v>1821</c:v>
                </c:pt>
                <c:pt idx="200">
                  <c:v>1782</c:v>
                </c:pt>
                <c:pt idx="201">
                  <c:v>1806</c:v>
                </c:pt>
                <c:pt idx="202">
                  <c:v>1826</c:v>
                </c:pt>
                <c:pt idx="203">
                  <c:v>1778</c:v>
                </c:pt>
                <c:pt idx="204">
                  <c:v>1747</c:v>
                </c:pt>
                <c:pt idx="205">
                  <c:v>1746</c:v>
                </c:pt>
                <c:pt idx="206">
                  <c:v>1683</c:v>
                </c:pt>
                <c:pt idx="207">
                  <c:v>1647</c:v>
                </c:pt>
                <c:pt idx="208">
                  <c:v>1657</c:v>
                </c:pt>
                <c:pt idx="209">
                  <c:v>1667</c:v>
                </c:pt>
                <c:pt idx="210">
                  <c:v>1618</c:v>
                </c:pt>
                <c:pt idx="211">
                  <c:v>1559</c:v>
                </c:pt>
                <c:pt idx="212">
                  <c:v>1513</c:v>
                </c:pt>
                <c:pt idx="213">
                  <c:v>1429</c:v>
                </c:pt>
                <c:pt idx="214">
                  <c:v>1404</c:v>
                </c:pt>
                <c:pt idx="215">
                  <c:v>1384</c:v>
                </c:pt>
                <c:pt idx="216">
                  <c:v>1353</c:v>
                </c:pt>
                <c:pt idx="217">
                  <c:v>1405</c:v>
                </c:pt>
                <c:pt idx="218">
                  <c:v>1375</c:v>
                </c:pt>
                <c:pt idx="219">
                  <c:v>1329</c:v>
                </c:pt>
                <c:pt idx="220">
                  <c:v>1250</c:v>
                </c:pt>
                <c:pt idx="221">
                  <c:v>1235</c:v>
                </c:pt>
                <c:pt idx="222">
                  <c:v>1219</c:v>
                </c:pt>
                <c:pt idx="223">
                  <c:v>1204</c:v>
                </c:pt>
                <c:pt idx="224">
                  <c:v>1179</c:v>
                </c:pt>
                <c:pt idx="225">
                  <c:v>1137</c:v>
                </c:pt>
                <c:pt idx="226">
                  <c:v>1059</c:v>
                </c:pt>
                <c:pt idx="227">
                  <c:v>1032</c:v>
                </c:pt>
                <c:pt idx="228">
                  <c:v>990</c:v>
                </c:pt>
                <c:pt idx="229" formatCode="General">
                  <c:v>990</c:v>
                </c:pt>
                <c:pt idx="230">
                  <c:v>1009</c:v>
                </c:pt>
                <c:pt idx="231" formatCode="General">
                  <c:v>9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79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D56A-4EBF-8935-6E1D9BB68909}"/>
                </c:ext>
              </c:extLst>
            </c:dLbl>
            <c:dLbl>
              <c:idx val="200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D56A-4EBF-8935-6E1D9BB68909}"/>
                </c:ext>
              </c:extLst>
            </c:dLbl>
            <c:dLbl>
              <c:idx val="228"/>
              <c:layout>
                <c:manualLayout>
                  <c:x val="-3.0219362317067216E-2"/>
                  <c:y val="-8.778390262694020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531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56A-4EBF-8935-6E1D9BB6890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33</c:f>
              <c:numCache>
                <c:formatCode>m/d/yyyy</c:formatCode>
                <c:ptCount val="23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</c:numCache>
            </c:numRef>
          </c:cat>
          <c:val>
            <c:numRef>
              <c:f>Sheet1!$B$2:$B$233</c:f>
              <c:numCache>
                <c:formatCode>#,##0</c:formatCode>
                <c:ptCount val="232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3</c:f>
              <c:numCache>
                <c:formatCode>m/d/yyyy</c:formatCode>
                <c:ptCount val="23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</c:numCache>
            </c:numRef>
          </c:cat>
          <c:val>
            <c:numRef>
              <c:f>Sheet1!$C$2:$C$233</c:f>
              <c:numCache>
                <c:formatCode>#,##0</c:formatCode>
                <c:ptCount val="23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1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4.xml"/><Relationship Id="rId5" Type="http://schemas.openxmlformats.org/officeDocument/2006/relationships/tags" Target="../tags/tag7.xml"/><Relationship Id="rId10" Type="http://schemas.openxmlformats.org/officeDocument/2006/relationships/chart" Target="../charts/chart3.xml"/><Relationship Id="rId4" Type="http://schemas.openxmlformats.org/officeDocument/2006/relationships/tags" Target="../tags/tag6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21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98933449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26763724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58620291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30667986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816581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5340080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34</TotalTime>
  <Words>1042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Žofka Jan Mgr. Ing.</cp:lastModifiedBy>
  <cp:revision>611</cp:revision>
  <dcterms:created xsi:type="dcterms:W3CDTF">2020-08-08T14:25:07Z</dcterms:created>
  <dcterms:modified xsi:type="dcterms:W3CDTF">2021-04-21T03:42:47Z</dcterms:modified>
</cp:coreProperties>
</file>